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982" r:id="rId5"/>
    <p:sldId id="979" r:id="rId6"/>
    <p:sldId id="983" r:id="rId7"/>
  </p:sldIdLst>
  <p:sldSz cx="12192000" cy="6858000"/>
  <p:notesSz cx="7010400" cy="9296400"/>
  <p:defaultTextStyle>
    <a:defPPr>
      <a:defRPr lang="es-419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0153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8" autoAdjust="0"/>
    <p:restoredTop sz="94660"/>
  </p:normalViewPr>
  <p:slideViewPr>
    <p:cSldViewPr snapToGrid="0">
      <p:cViewPr varScale="1">
        <p:scale>
          <a:sx n="90" d="100"/>
          <a:sy n="90" d="100"/>
        </p:scale>
        <p:origin x="52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F03168-B49E-447C-9902-974E77D285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BCBC1C3-A61C-4C76-8BA2-B687250203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3CA49C2-313C-41F5-9786-B437D36B5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71841BD-50D3-4B28-BA0F-D0751393B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C2DE510-2034-4B3F-B80B-42B5AEDF3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8773190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33F6951-0DAA-4A1A-8FC0-2D0BEB4B3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0B1B35C4-691E-4807-9525-8740B79C45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6D84F66-5545-4E7F-8417-730B84A0D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A6D1080-75C1-429F-B8B1-7B236F654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5CF9AF8-03E5-4E02-BDD4-E025E2D83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3439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E5530C5-C550-4B43-A34D-915CFF2974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B36817E-6607-4088-8FB2-DED214E874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0EDC4AA-5BFF-4DD3-A044-0356D1EEC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2CA5FCC-C847-4932-BAE6-5A63B1C81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12325BA-4B13-4A97-9ECC-C40DFF129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049034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B5C49B-E7CD-4078-A65B-1032ECD53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7592073-A798-4348-85A9-EC687E4DE9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CD4FE5B-71E9-4B8E-B691-1EB18F855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5A22316-7EEA-4FCA-8EFB-4A3BB6978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F59D9D7-1972-493B-985C-2F81DA3AC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081098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3AA8C9-13CD-42A4-8B82-1049A0E83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9B8853-D216-4948-8769-AC5FE5B22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14BF044-AC89-4267-92B2-8AA5723E7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1CE2BD0-020A-48B1-88D1-77D7E13DD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13D9E98-960D-42FF-8D8E-EBFD3807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508235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A4A252-C462-4E63-853E-60C82F6CB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AFE4564-C062-4C91-93E0-2ED484CB6C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88A26F6-BD4B-448F-8D42-17DA69A62A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6857E89-9A71-4C37-9E5B-AABD93360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79619E3-1E46-4603-953A-356231770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FCE9178-7B9E-46FA-90B4-57675E643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255662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0253DC-DEAB-4E68-8309-6227C512C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3FF93B7-874B-40E1-8A36-79DA96E4C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DDD857B-9FB4-4862-8CA3-8F6267CE49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BE3AAEA-F2E3-45E8-815F-CCDE353108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3C5D834-4C79-4F55-92E0-7F77ED56D0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46E81A5-26FA-454B-B8D1-639BD73D2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C207A0F5-6F54-48C2-9FFC-A9D8C49C3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8EE171E9-CBFF-45B0-95F6-7843ECC25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866394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6BE4996-121B-4C3F-A430-D3B229400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4A73020-ECE6-415D-9DEF-4F73A279C5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E786C6C-D12B-468A-8D32-74DD36908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6AA9BE-1F60-48C5-B31F-9AD51C467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438065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99F6EAE-C205-4839-BB77-C4A39E1E5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C47438A1-B894-4905-8234-A70C455A8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CC2645-F359-4B97-9A61-E3AE430E2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552691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09001B-0ACB-45D5-A237-72B925019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30C7E1A-8E6B-42B1-A940-02BC6CE8CC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AB210EA-23F8-49F0-ABC5-9BE673E91D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7AC66EB-86C1-4ADF-8DFB-2B757F225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104D46C-9745-479A-9A37-0259245F20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44C0C7A-E7A4-4F1D-BB8A-98303C464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450848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FFAA22-D197-48E0-B97B-F34E22912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A5A28A7-C918-4AEB-88AA-34907166F6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566151-E62C-4933-A75B-22B3C688A2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4090E0B-8F1D-4CA0-9D98-75EDF34F2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4F48125-C9D3-487F-A4C0-C90020A0E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9926081-4F07-47A9-8B75-735143051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151034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8876FDA-3A7C-4D9F-9736-287C7944E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4A5C374-AEBF-45EB-8795-0B478135AD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8606B92-6A31-4755-907C-BC2E63897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350F979-A102-457D-8AFC-02B6E3B6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E282012-BAB9-45E1-9805-B74809FC6E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6167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419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5.png"/><Relationship Id="rId5" Type="http://schemas.openxmlformats.org/officeDocument/2006/relationships/tags" Target="../tags/tag5.xml"/><Relationship Id="rId10" Type="http://schemas.openxmlformats.org/officeDocument/2006/relationships/image" Target="../media/image3.svg"/><Relationship Id="rId4" Type="http://schemas.openxmlformats.org/officeDocument/2006/relationships/tags" Target="../tags/tag4.xml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927" y="-70764"/>
            <a:ext cx="12303853" cy="6999528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1</a:t>
            </a:fld>
            <a:endParaRPr lang="es-CO" dirty="0"/>
          </a:p>
        </p:txBody>
      </p:sp>
      <p:sp>
        <p:nvSpPr>
          <p:cNvPr id="114" name="19 CuadroTexto">
            <a:extLst>
              <a:ext uri="{FF2B5EF4-FFF2-40B4-BE49-F238E27FC236}">
                <a16:creationId xmlns:a16="http://schemas.microsoft.com/office/drawing/2014/main" id="{21EFADA3-0E84-47DE-8981-EEDB9C3BD1FC}"/>
              </a:ext>
            </a:extLst>
          </p:cNvPr>
          <p:cNvSpPr txBox="1"/>
          <p:nvPr/>
        </p:nvSpPr>
        <p:spPr>
          <a:xfrm>
            <a:off x="147338" y="430604"/>
            <a:ext cx="809105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CO" sz="12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pción: DAR CUMPLIMIENTO A LA SENTENCIA FALLO T- 762 </a:t>
            </a:r>
            <a:endParaRPr lang="es-CO" sz="14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5" name="6 Rectángulo">
            <a:extLst>
              <a:ext uri="{FF2B5EF4-FFF2-40B4-BE49-F238E27FC236}">
                <a16:creationId xmlns:a16="http://schemas.microsoft.com/office/drawing/2014/main" id="{830F219F-5765-4A64-942C-53BDC22488A2}"/>
              </a:ext>
            </a:extLst>
          </p:cNvPr>
          <p:cNvSpPr/>
          <p:nvPr/>
        </p:nvSpPr>
        <p:spPr>
          <a:xfrm>
            <a:off x="147338" y="182570"/>
            <a:ext cx="110351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to: </a:t>
            </a:r>
            <a:r>
              <a:rPr lang="es-ES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PMSC ERE JP BUCARAMANGA</a:t>
            </a:r>
            <a:endParaRPr lang="es-CO" sz="14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6" name="28 CuadroTexto">
            <a:extLst>
              <a:ext uri="{FF2B5EF4-FFF2-40B4-BE49-F238E27FC236}">
                <a16:creationId xmlns:a16="http://schemas.microsoft.com/office/drawing/2014/main" id="{EAA47672-FD83-47CB-9540-EE3645B8CDA3}"/>
              </a:ext>
            </a:extLst>
          </p:cNvPr>
          <p:cNvSpPr txBox="1"/>
          <p:nvPr/>
        </p:nvSpPr>
        <p:spPr>
          <a:xfrm>
            <a:off x="5083728" y="1090737"/>
            <a:ext cx="6711193" cy="40011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tenimiento y Mejoramiento de la infraestructura física del establecimientos penitenciarios y carcelario.</a:t>
            </a:r>
          </a:p>
        </p:txBody>
      </p:sp>
      <p:sp>
        <p:nvSpPr>
          <p:cNvPr id="117" name="CuadroTexto 42">
            <a:extLst>
              <a:ext uri="{FF2B5EF4-FFF2-40B4-BE49-F238E27FC236}">
                <a16:creationId xmlns:a16="http://schemas.microsoft.com/office/drawing/2014/main" id="{766E6E3B-4674-4458-9F2E-3F9768FA64DB}"/>
              </a:ext>
            </a:extLst>
          </p:cNvPr>
          <p:cNvSpPr txBox="1"/>
          <p:nvPr/>
        </p:nvSpPr>
        <p:spPr>
          <a:xfrm>
            <a:off x="211633" y="1377237"/>
            <a:ext cx="4170719" cy="133882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icio de designación de supervisor para el proyecto 31-01-2018. </a:t>
            </a: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sita de reconocimiento al alcance realizada el día 17 de julio de 2019 en conjunto con el contratista de la obra e interventoría</a:t>
            </a: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 realizó visita al establecimiento  el día 24 de octubre de 2019 con funcionarios de la USPEC y Contratista  para reconocer las áreas a intervenir y se realizo seguimiento a la entrega de la fase 1 de verificación y complementación técnica</a:t>
            </a: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interventoría esta adjudicada y contratada a través del contrato No 2180866 de acuerdo al proceso CPU 030-2017 </a:t>
            </a:r>
          </a:p>
        </p:txBody>
      </p:sp>
      <p:sp>
        <p:nvSpPr>
          <p:cNvPr id="118" name="Rectangle 181">
            <a:extLst>
              <a:ext uri="{FF2B5EF4-FFF2-40B4-BE49-F238E27FC236}">
                <a16:creationId xmlns:a16="http://schemas.microsoft.com/office/drawing/2014/main" id="{56691944-C316-4F66-B2FF-561BCB7A74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83728" y="769752"/>
            <a:ext cx="6711193" cy="288033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1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EFICIOS ADICIONALES</a:t>
            </a:r>
            <a:endParaRPr lang="en-US" sz="8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9" name="Rectangle 181">
            <a:extLst>
              <a:ext uri="{FF2B5EF4-FFF2-40B4-BE49-F238E27FC236}">
                <a16:creationId xmlns:a16="http://schemas.microsoft.com/office/drawing/2014/main" id="{DB94D41D-7398-499F-B4DD-4510E3D156B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11633" y="886256"/>
            <a:ext cx="4192864" cy="288032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1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S A LA FECHA</a:t>
            </a:r>
            <a:endParaRPr lang="en-US" sz="8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0" name="Rectangle 181">
            <a:extLst>
              <a:ext uri="{FF2B5EF4-FFF2-40B4-BE49-F238E27FC236}">
                <a16:creationId xmlns:a16="http://schemas.microsoft.com/office/drawing/2014/main" id="{6812CB26-B0E9-4FD8-A38E-F809CE60E1AB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4784" y="2942264"/>
            <a:ext cx="4064419" cy="281667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ERENCIAS GRÁFICA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21" name="Imagen 120">
            <a:extLst>
              <a:ext uri="{FF2B5EF4-FFF2-40B4-BE49-F238E27FC236}">
                <a16:creationId xmlns:a16="http://schemas.microsoft.com/office/drawing/2014/main" id="{DEAE98F5-9375-464C-9AF7-D79DDC87524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523"/>
          <a:stretch/>
        </p:blipFill>
        <p:spPr>
          <a:xfrm>
            <a:off x="264784" y="3388318"/>
            <a:ext cx="4045525" cy="2520967"/>
          </a:xfrm>
          <a:prstGeom prst="rect">
            <a:avLst/>
          </a:prstGeom>
        </p:spPr>
      </p:pic>
      <p:graphicFrame>
        <p:nvGraphicFramePr>
          <p:cNvPr id="122" name="Tabla 121">
            <a:extLst>
              <a:ext uri="{FF2B5EF4-FFF2-40B4-BE49-F238E27FC236}">
                <a16:creationId xmlns:a16="http://schemas.microsoft.com/office/drawing/2014/main" id="{16421293-BF6B-4A54-AA59-F13AFB9055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505954"/>
              </p:ext>
            </p:extLst>
          </p:nvPr>
        </p:nvGraphicFramePr>
        <p:xfrm>
          <a:off x="5083727" y="1640974"/>
          <a:ext cx="6711194" cy="488418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30043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068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1719">
                <a:tc>
                  <a:txBody>
                    <a:bodyPr/>
                    <a:lstStyle/>
                    <a:p>
                      <a:pPr algn="l"/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ado del proyecto </a:t>
                      </a:r>
                      <a:endParaRPr lang="es-CO" sz="9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9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ción</a:t>
                      </a:r>
                      <a:r>
                        <a:rPr lang="es-CO" sz="900" b="1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s-CO" sz="900" b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9271">
                <a:tc>
                  <a:txBody>
                    <a:bodyPr/>
                    <a:lstStyle/>
                    <a:p>
                      <a:pPr algn="l"/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a de Inicio de etapa de verificación</a:t>
                      </a:r>
                      <a:endParaRPr lang="es-CO" sz="9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9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3 julio 201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1719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a de Terminación etapa de verificación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3 de septiembre 201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5115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jet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NTENIMIIENTO Y MEJORAMIENTO DE LA INFRAESTRUCTURA FÍSICA GENERAL DE LOS ESTABLECIMIENTOS PENITENCIARIOS Y CARCELARIOS EPMSC ERE JP BUCARAMANGA A CARGO DEL INSTITUTO NACIONAL PENITENCIARIO Y CARCELARIO – INPEC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4179284"/>
                  </a:ext>
                </a:extLst>
              </a:tr>
              <a:tr h="211719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ratista Obr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SORCIO  INFRAESTRUCTURA  INPEC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1719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rato Obr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9167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99633328"/>
                  </a:ext>
                </a:extLst>
              </a:tr>
              <a:tr h="211719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versión obr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 4.298.384.954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4129990"/>
                  </a:ext>
                </a:extLst>
              </a:tr>
              <a:tr h="211719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laz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 MESE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751700"/>
                  </a:ext>
                </a:extLst>
              </a:tr>
              <a:tr h="211719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rventoría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80866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58772057"/>
                  </a:ext>
                </a:extLst>
              </a:tr>
              <a:tr h="211719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rato Interventorí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RATADO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1553"/>
                  </a:ext>
                </a:extLst>
              </a:tr>
              <a:tr h="33116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9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versión Interventoría – Grupo 1 (8 frentes)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900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372.367.184</a:t>
                      </a:r>
                      <a:endParaRPr lang="es-CO" sz="9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1719">
                <a:tc>
                  <a:txBody>
                    <a:bodyPr/>
                    <a:lstStyle/>
                    <a:p>
                      <a:r>
                        <a:rPr lang="es-CO" sz="9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de ejecució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% etapa de verificación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1719">
                <a:tc>
                  <a:txBody>
                    <a:bodyPr/>
                    <a:lstStyle/>
                    <a:p>
                      <a:r>
                        <a:rPr lang="es-CO" sz="9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Financier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%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6274642"/>
                  </a:ext>
                </a:extLst>
              </a:tr>
              <a:tr h="1152634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s-CO" sz="900" kern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servaciones</a:t>
                      </a:r>
                      <a:endParaRPr lang="es-CO" sz="900" b="1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CO" sz="900" kern="12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a etapa de verificación, se encuentra terminada y entregada, sin embrago esta en proceso de aprobación por parte de la Interventoría para la firma del acta de inicio de la Fase 2 de ejecución de obra</a:t>
                      </a:r>
                      <a:endParaRPr lang="es-CO" sz="90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2869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544"/>
            <a:ext cx="12192000" cy="6999528"/>
          </a:xfrm>
          <a:prstGeom prst="rect">
            <a:avLst/>
          </a:prstGeom>
          <a:noFill/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2</a:t>
            </a:fld>
            <a:endParaRPr lang="es-CO" dirty="0"/>
          </a:p>
        </p:txBody>
      </p:sp>
      <p:sp>
        <p:nvSpPr>
          <p:cNvPr id="276" name="19 CuadroTexto">
            <a:extLst>
              <a:ext uri="{FF2B5EF4-FFF2-40B4-BE49-F238E27FC236}">
                <a16:creationId xmlns:a16="http://schemas.microsoft.com/office/drawing/2014/main" id="{00C34732-2FC6-476A-A015-6A9FDEB302C3}"/>
              </a:ext>
            </a:extLst>
          </p:cNvPr>
          <p:cNvSpPr txBox="1"/>
          <p:nvPr/>
        </p:nvSpPr>
        <p:spPr>
          <a:xfrm>
            <a:off x="147338" y="430604"/>
            <a:ext cx="809105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CO" sz="12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pción: DAR CUMPLIMIENTO A LA SENTENCIA FALLO T- 762 </a:t>
            </a:r>
            <a:endParaRPr lang="es-CO" sz="14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7" name="6 Rectángulo">
            <a:extLst>
              <a:ext uri="{FF2B5EF4-FFF2-40B4-BE49-F238E27FC236}">
                <a16:creationId xmlns:a16="http://schemas.microsoft.com/office/drawing/2014/main" id="{BFF64ABE-FE2C-4477-948C-3F5BA31B3703}"/>
              </a:ext>
            </a:extLst>
          </p:cNvPr>
          <p:cNvSpPr/>
          <p:nvPr/>
        </p:nvSpPr>
        <p:spPr>
          <a:xfrm>
            <a:off x="147338" y="182570"/>
            <a:ext cx="66586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to: </a:t>
            </a:r>
            <a:r>
              <a:rPr lang="es-ES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PMSC ERE JP BUCARAMANGA</a:t>
            </a:r>
            <a:endParaRPr lang="es-CO" sz="14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78" name="Tabla 277">
            <a:extLst>
              <a:ext uri="{FF2B5EF4-FFF2-40B4-BE49-F238E27FC236}">
                <a16:creationId xmlns:a16="http://schemas.microsoft.com/office/drawing/2014/main" id="{1D588009-BD74-4C27-8558-D8C7957D76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3768883"/>
              </p:ext>
            </p:extLst>
          </p:nvPr>
        </p:nvGraphicFramePr>
        <p:xfrm>
          <a:off x="273051" y="919650"/>
          <a:ext cx="11219866" cy="372324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50227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971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9001">
                <a:tc>
                  <a:txBody>
                    <a:bodyPr/>
                    <a:lstStyle/>
                    <a:p>
                      <a:pPr algn="l"/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ado del proyecto </a:t>
                      </a:r>
                      <a:endParaRPr lang="es-CO" sz="11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11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ción</a:t>
                      </a:r>
                      <a:r>
                        <a:rPr lang="es-CO" sz="1100" b="1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s-CO" sz="1100" b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144">
                <a:tc>
                  <a:txBody>
                    <a:bodyPr/>
                    <a:lstStyle/>
                    <a:p>
                      <a:pPr algn="just"/>
                      <a:r>
                        <a:rPr lang="es-CO" sz="11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lcanc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•</a:t>
                      </a:r>
                      <a:r>
                        <a:rPr lang="es-CO" sz="1100" u="sng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ntenimiento a baterías sanitarias: PABELLON 3,4,6</a:t>
                      </a:r>
                    </a:p>
                    <a:p>
                      <a:pPr algn="just"/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Se prioriza el mantenimiento en los patios de sol y zonas comunes de los pabellones. Las baterías requieren sustitución de aparatos sanitarios, mantenimiento a algunos existentes, control de humedades en las placas de entrepiso, enchapes, suministro e instalación de puertas a los baños. </a:t>
                      </a:r>
                    </a:p>
                    <a:p>
                      <a:pPr algn="just"/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</a:p>
                    <a:p>
                      <a:pPr algn="just"/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• </a:t>
                      </a:r>
                      <a:r>
                        <a:rPr lang="es-CO" sz="1100" u="sng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ZONAS COMUNES EN LOS PABELLONES Y PATIOS: 3, 4, 6</a:t>
                      </a:r>
                    </a:p>
                    <a:p>
                      <a:pPr algn="just"/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Se requiere el mantenimiento en las escaleras de acceso a los pabellones, resanes y pintura general en los patios y pabellones, demolición y construcción de pisos, también es necesario el mantenimiento de las instalaciones hidráulicas, al igual que sifones y rejillas.  </a:t>
                      </a:r>
                    </a:p>
                    <a:p>
                      <a:pPr algn="just"/>
                      <a:endParaRPr lang="es-CO" sz="11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algn="just"/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• </a:t>
                      </a:r>
                      <a:r>
                        <a:rPr lang="es-CO" sz="1100" u="sng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forzamiento  y adecuación de garitas</a:t>
                      </a:r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: Se hace necesaria la intervención de las garitas existentes nuevas, para que cumplan con confort, habitabilidad y servicios, dando cumplimiento a lo ordenado en la sentencia T-762.  </a:t>
                      </a:r>
                    </a:p>
                    <a:p>
                      <a:pPr algn="just"/>
                      <a:endParaRPr lang="es-CO" sz="11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algn="just"/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• </a:t>
                      </a:r>
                      <a:r>
                        <a:rPr lang="es-CO" sz="1100" u="sng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istema de contención en talud</a:t>
                      </a:r>
                      <a:r>
                        <a:rPr lang="es-CO" sz="11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: Bajo la garita antigua número 6, ubicada sobre el cerramiento perimetral exterior, que impide su uso por seguridad del personal de guardia.  </a:t>
                      </a:r>
                    </a:p>
                    <a:p>
                      <a:pPr algn="just"/>
                      <a:endParaRPr lang="es-CO" sz="11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91723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737"/>
            <a:ext cx="12192000" cy="6999528"/>
          </a:xfrm>
          <a:prstGeom prst="rect">
            <a:avLst/>
          </a:prstGeom>
          <a:noFill/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3</a:t>
            </a:fld>
            <a:endParaRPr lang="es-CO" dirty="0"/>
          </a:p>
        </p:txBody>
      </p:sp>
      <p:sp>
        <p:nvSpPr>
          <p:cNvPr id="43" name="Rectangle 6">
            <a:extLst>
              <a:ext uri="{FF2B5EF4-FFF2-40B4-BE49-F238E27FC236}">
                <a16:creationId xmlns:a16="http://schemas.microsoft.com/office/drawing/2014/main" id="{E06E5D28-8383-4A65-95CA-0186998376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28192" y="6274768"/>
            <a:ext cx="3111513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viación en días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nte proyección</a:t>
            </a:r>
          </a:p>
        </p:txBody>
      </p:sp>
      <p:sp>
        <p:nvSpPr>
          <p:cNvPr id="44" name="Rectangle 6">
            <a:extLst>
              <a:ext uri="{FF2B5EF4-FFF2-40B4-BE49-F238E27FC236}">
                <a16:creationId xmlns:a16="http://schemas.microsoft.com/office/drawing/2014/main" id="{59B87256-EEC0-438C-9ED1-CCAD7F5827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13945" y="6613330"/>
            <a:ext cx="932495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 30</a:t>
            </a:r>
          </a:p>
        </p:txBody>
      </p:sp>
      <p:sp>
        <p:nvSpPr>
          <p:cNvPr id="45" name="Rectangle 6">
            <a:extLst>
              <a:ext uri="{FF2B5EF4-FFF2-40B4-BE49-F238E27FC236}">
                <a16:creationId xmlns:a16="http://schemas.microsoft.com/office/drawing/2014/main" id="{5173BC2F-D0DD-45F6-BF24-87B33BCA1B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94937" y="6602877"/>
            <a:ext cx="360276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 0</a:t>
            </a:r>
          </a:p>
        </p:txBody>
      </p:sp>
      <p:grpSp>
        <p:nvGrpSpPr>
          <p:cNvPr id="63" name="2 Grupo">
            <a:extLst>
              <a:ext uri="{FF2B5EF4-FFF2-40B4-BE49-F238E27FC236}">
                <a16:creationId xmlns:a16="http://schemas.microsoft.com/office/drawing/2014/main" id="{0A436F5C-B563-4DEB-9D73-AE3BB0E9202E}"/>
              </a:ext>
            </a:extLst>
          </p:cNvPr>
          <p:cNvGrpSpPr/>
          <p:nvPr/>
        </p:nvGrpSpPr>
        <p:grpSpPr>
          <a:xfrm>
            <a:off x="7618633" y="6205413"/>
            <a:ext cx="1700032" cy="384758"/>
            <a:chOff x="7164287" y="6381328"/>
            <a:chExt cx="1404770" cy="360040"/>
          </a:xfrm>
        </p:grpSpPr>
        <p:sp>
          <p:nvSpPr>
            <p:cNvPr id="64" name="Rectángulo redondeado 31">
              <a:extLst>
                <a:ext uri="{FF2B5EF4-FFF2-40B4-BE49-F238E27FC236}">
                  <a16:creationId xmlns:a16="http://schemas.microsoft.com/office/drawing/2014/main" id="{79DBC480-27B0-4336-8DCC-22829C460735}"/>
                </a:ext>
              </a:extLst>
            </p:cNvPr>
            <p:cNvSpPr/>
            <p:nvPr/>
          </p:nvSpPr>
          <p:spPr>
            <a:xfrm>
              <a:off x="7164287" y="6453336"/>
              <a:ext cx="1298901" cy="2880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5" name="26 Elipse">
              <a:extLst>
                <a:ext uri="{FF2B5EF4-FFF2-40B4-BE49-F238E27FC236}">
                  <a16:creationId xmlns:a16="http://schemas.microsoft.com/office/drawing/2014/main" id="{135BF92E-70F9-4542-9F4B-FA28FFF96CED}"/>
                </a:ext>
              </a:extLst>
            </p:cNvPr>
            <p:cNvSpPr/>
            <p:nvPr/>
          </p:nvSpPr>
          <p:spPr>
            <a:xfrm>
              <a:off x="7968702" y="6529816"/>
              <a:ext cx="176401" cy="151200"/>
            </a:xfrm>
            <a:prstGeom prst="ellipse">
              <a:avLst/>
            </a:prstGeom>
            <a:solidFill>
              <a:srgbClr val="327E46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6" name="32 Elipse">
              <a:extLst>
                <a:ext uri="{FF2B5EF4-FFF2-40B4-BE49-F238E27FC236}">
                  <a16:creationId xmlns:a16="http://schemas.microsoft.com/office/drawing/2014/main" id="{2975A682-145F-4185-A02E-607145390970}"/>
                </a:ext>
              </a:extLst>
            </p:cNvPr>
            <p:cNvSpPr/>
            <p:nvPr/>
          </p:nvSpPr>
          <p:spPr>
            <a:xfrm>
              <a:off x="8244407" y="6529816"/>
              <a:ext cx="176401" cy="15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7" name="1 Rectángulo">
              <a:extLst>
                <a:ext uri="{FF2B5EF4-FFF2-40B4-BE49-F238E27FC236}">
                  <a16:creationId xmlns:a16="http://schemas.microsoft.com/office/drawing/2014/main" id="{B17A7465-E55C-4172-A518-B72CBC88816B}"/>
                </a:ext>
              </a:extLst>
            </p:cNvPr>
            <p:cNvSpPr/>
            <p:nvPr/>
          </p:nvSpPr>
          <p:spPr>
            <a:xfrm>
              <a:off x="7335864" y="6381328"/>
              <a:ext cx="987770" cy="1728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600" b="1" cap="all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máforo</a:t>
              </a:r>
            </a:p>
          </p:txBody>
        </p:sp>
        <p:sp>
          <p:nvSpPr>
            <p:cNvPr id="68" name="34 Rectángulo">
              <a:extLst>
                <a:ext uri="{FF2B5EF4-FFF2-40B4-BE49-F238E27FC236}">
                  <a16:creationId xmlns:a16="http://schemas.microsoft.com/office/drawing/2014/main" id="{7DF525E9-28A4-4DE0-ACE9-D7FBCF894A60}"/>
                </a:ext>
              </a:extLst>
            </p:cNvPr>
            <p:cNvSpPr/>
            <p:nvPr/>
          </p:nvSpPr>
          <p:spPr>
            <a:xfrm>
              <a:off x="8101513" y="6497501"/>
              <a:ext cx="467544" cy="2016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800" b="1" cap="all" dirty="0">
                  <a:solidFill>
                    <a:prstClr val="black"/>
                  </a:solidFill>
                  <a:latin typeface="Arial" pitchFamily="34" charset="0"/>
                  <a:ea typeface="Verdana" panose="020B0604030504040204" pitchFamily="34" charset="0"/>
                  <a:cs typeface="Arial" pitchFamily="34" charset="0"/>
                </a:rPr>
                <a:t>N/A</a:t>
              </a:r>
            </a:p>
          </p:txBody>
        </p:sp>
      </p:grpSp>
      <p:sp>
        <p:nvSpPr>
          <p:cNvPr id="70" name="149 Extracto">
            <a:extLst>
              <a:ext uri="{FF2B5EF4-FFF2-40B4-BE49-F238E27FC236}">
                <a16:creationId xmlns:a16="http://schemas.microsoft.com/office/drawing/2014/main" id="{B1EEB487-4E3B-4A83-87AF-0D6BD2545306}"/>
              </a:ext>
            </a:extLst>
          </p:cNvPr>
          <p:cNvSpPr/>
          <p:nvPr/>
        </p:nvSpPr>
        <p:spPr>
          <a:xfrm>
            <a:off x="7772346" y="6360668"/>
            <a:ext cx="176400" cy="151200"/>
          </a:xfrm>
          <a:prstGeom prst="flowChartExtract">
            <a:avLst/>
          </a:prstGeom>
          <a:solidFill>
            <a:srgbClr val="FF000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71" name="150 Proceso">
            <a:extLst>
              <a:ext uri="{FF2B5EF4-FFF2-40B4-BE49-F238E27FC236}">
                <a16:creationId xmlns:a16="http://schemas.microsoft.com/office/drawing/2014/main" id="{3FBFCC2E-CF3D-4F21-AA6D-E56C52A0D3C7}"/>
              </a:ext>
            </a:extLst>
          </p:cNvPr>
          <p:cNvSpPr/>
          <p:nvPr/>
        </p:nvSpPr>
        <p:spPr>
          <a:xfrm>
            <a:off x="8179104" y="6369724"/>
            <a:ext cx="176400" cy="151200"/>
          </a:xfrm>
          <a:prstGeom prst="flowChartProcess">
            <a:avLst/>
          </a:prstGeom>
          <a:solidFill>
            <a:srgbClr val="FFC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105" name="Rectangle 178">
            <a:extLst>
              <a:ext uri="{FF2B5EF4-FFF2-40B4-BE49-F238E27FC236}">
                <a16:creationId xmlns:a16="http://schemas.microsoft.com/office/drawing/2014/main" id="{EB9586EA-343D-4C2F-BFC6-37B5C58EB2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9387" y="6214671"/>
            <a:ext cx="2783274" cy="49193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Teofila Banquez Supervisor FONAD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5940407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endParaRPr lang="es-CO" sz="8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9" name="Rectangle 181">
            <a:extLst>
              <a:ext uri="{FF2B5EF4-FFF2-40B4-BE49-F238E27FC236}">
                <a16:creationId xmlns:a16="http://schemas.microsoft.com/office/drawing/2014/main" id="{E5CFAFFA-2E9E-4D4D-A16D-2E4AD71CFB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1292" y="977493"/>
            <a:ext cx="4297680" cy="25352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 proyectado vs. </a:t>
            </a:r>
            <a:r>
              <a:rPr lang="en-US" sz="1051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</a:t>
            </a:r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l</a:t>
            </a:r>
          </a:p>
        </p:txBody>
      </p:sp>
      <p:sp>
        <p:nvSpPr>
          <p:cNvPr id="140" name="Rectangle 181">
            <a:extLst>
              <a:ext uri="{FF2B5EF4-FFF2-40B4-BE49-F238E27FC236}">
                <a16:creationId xmlns:a16="http://schemas.microsoft.com/office/drawing/2014/main" id="{8D311654-6C57-4807-B12F-78EFC886C3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38559" y="962182"/>
            <a:ext cx="2502611" cy="25352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óximos hitos</a:t>
            </a:r>
          </a:p>
        </p:txBody>
      </p:sp>
      <p:sp>
        <p:nvSpPr>
          <p:cNvPr id="141" name="Rectangle 184">
            <a:extLst>
              <a:ext uri="{FF2B5EF4-FFF2-40B4-BE49-F238E27FC236}">
                <a16:creationId xmlns:a16="http://schemas.microsoft.com/office/drawing/2014/main" id="{B89ED6DA-9E57-4BA3-8E70-61123CCDE84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75677" y="1259982"/>
            <a:ext cx="2502611" cy="2267000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galización Contrato de Interventoría.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rma Acta de Inicio. 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icio de etapa de verificación.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icio de Etapa de construcción. </a:t>
            </a:r>
          </a:p>
          <a:p>
            <a:pPr defTabSz="457200" fontAlgn="ctr"/>
            <a:endParaRPr lang="es-CO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2" name="Rectangle 186">
            <a:extLst>
              <a:ext uri="{FF2B5EF4-FFF2-40B4-BE49-F238E27FC236}">
                <a16:creationId xmlns:a16="http://schemas.microsoft.com/office/drawing/2014/main" id="{FFDAF276-867F-403F-8847-D20720BF7725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561743" y="1244423"/>
            <a:ext cx="493896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82875" indent="-182875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3" name="Rectangle 181">
            <a:extLst>
              <a:ext uri="{FF2B5EF4-FFF2-40B4-BE49-F238E27FC236}">
                <a16:creationId xmlns:a16="http://schemas.microsoft.com/office/drawing/2014/main" id="{526C4453-D734-4FB6-BFE6-4E6DB5B3A290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6197" y="3924902"/>
            <a:ext cx="3073986" cy="25352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Ejecución Financiera</a:t>
            </a:r>
          </a:p>
        </p:txBody>
      </p:sp>
      <p:sp>
        <p:nvSpPr>
          <p:cNvPr id="144" name="Rectangle 181">
            <a:extLst>
              <a:ext uri="{FF2B5EF4-FFF2-40B4-BE49-F238E27FC236}">
                <a16:creationId xmlns:a16="http://schemas.microsoft.com/office/drawing/2014/main" id="{37741489-612A-470F-8D73-4D03076F4198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06352" y="3949086"/>
            <a:ext cx="3028507" cy="23810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7F7F7F"/>
            </a:solidFill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isiones a tomar</a:t>
            </a:r>
          </a:p>
        </p:txBody>
      </p:sp>
      <p:sp>
        <p:nvSpPr>
          <p:cNvPr id="145" name="Rectangle 178">
            <a:extLst>
              <a:ext uri="{FF2B5EF4-FFF2-40B4-BE49-F238E27FC236}">
                <a16:creationId xmlns:a16="http://schemas.microsoft.com/office/drawing/2014/main" id="{DE597A41-DA12-430C-B6C1-3B6802E7A6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06352" y="4196441"/>
            <a:ext cx="3028507" cy="17556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46" name="Group 51">
            <a:extLst>
              <a:ext uri="{FF2B5EF4-FFF2-40B4-BE49-F238E27FC236}">
                <a16:creationId xmlns:a16="http://schemas.microsoft.com/office/drawing/2014/main" id="{34802FD4-807A-47D3-8E34-0AAF8BE8F3BB}"/>
              </a:ext>
            </a:extLst>
          </p:cNvPr>
          <p:cNvGrpSpPr/>
          <p:nvPr/>
        </p:nvGrpSpPr>
        <p:grpSpPr>
          <a:xfrm>
            <a:off x="3960212" y="3939872"/>
            <a:ext cx="2926080" cy="2004343"/>
            <a:chOff x="2981481" y="4038600"/>
            <a:chExt cx="2926080" cy="2004343"/>
          </a:xfrm>
          <a:noFill/>
        </p:grpSpPr>
        <p:sp>
          <p:nvSpPr>
            <p:cNvPr id="147" name="Rectangle 181">
              <a:extLst>
                <a:ext uri="{FF2B5EF4-FFF2-40B4-BE49-F238E27FC236}">
                  <a16:creationId xmlns:a16="http://schemas.microsoft.com/office/drawing/2014/main" id="{DC4ABED0-6F91-4F8C-81A5-F6716CFF132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81481" y="4038600"/>
              <a:ext cx="2926080" cy="25352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lIns="237744" rIns="0" anchor="ctr"/>
            <a:lstStyle/>
            <a:p>
              <a:pPr algn="ctr"/>
              <a:r>
                <a:rPr lang="en-US" sz="1051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iesgos y acciones tomadas</a:t>
              </a:r>
            </a:p>
          </p:txBody>
        </p:sp>
        <p:sp>
          <p:nvSpPr>
            <p:cNvPr id="148" name="Rectangle 178">
              <a:extLst>
                <a:ext uri="{FF2B5EF4-FFF2-40B4-BE49-F238E27FC236}">
                  <a16:creationId xmlns:a16="http://schemas.microsoft.com/office/drawing/2014/main" id="{C216120E-3DD6-4878-BCF8-9B45D82CDB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81481" y="4287305"/>
              <a:ext cx="2926080" cy="1755638"/>
            </a:xfrm>
            <a:prstGeom prst="rect">
              <a:avLst/>
            </a:prstGeom>
            <a:grpFill/>
            <a:ln w="9525">
              <a:solidFill>
                <a:schemeClr val="bg1">
                  <a:lumMod val="65000"/>
                </a:schemeClr>
              </a:solidFill>
              <a:prstDash val="sysDash"/>
              <a:miter lim="800000"/>
              <a:headEnd/>
              <a:tailEnd/>
            </a:ln>
          </p:spPr>
          <p:txBody>
            <a:bodyPr lIns="45720" tIns="91440" rIns="45720"/>
            <a:lstStyle/>
            <a:p>
              <a:pPr marL="228594" indent="-228594"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20000"/>
                <a:buFont typeface="Arial" pitchFamily="34" charset="0"/>
                <a:buChar char="•"/>
              </a:pPr>
              <a:endParaRPr lang="en-US" sz="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49" name="Rectangle 178">
            <a:extLst>
              <a:ext uri="{FF2B5EF4-FFF2-40B4-BE49-F238E27FC236}">
                <a16:creationId xmlns:a16="http://schemas.microsoft.com/office/drawing/2014/main" id="{A9E1DEE7-569E-4E5C-94D8-087EA98933A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87758" y="4196441"/>
            <a:ext cx="3028506" cy="17556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n-US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0" name="Rectangle 186">
            <a:extLst>
              <a:ext uri="{FF2B5EF4-FFF2-40B4-BE49-F238E27FC236}">
                <a16:creationId xmlns:a16="http://schemas.microsoft.com/office/drawing/2014/main" id="{173C9166-64A2-4908-BD7A-D1D97D404C36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219781" y="1264185"/>
            <a:ext cx="647026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3/07/2019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3/09/2019</a:t>
            </a:r>
            <a:endParaRPr lang="en-GB" sz="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1" name="Rectangle 186">
            <a:extLst>
              <a:ext uri="{FF2B5EF4-FFF2-40B4-BE49-F238E27FC236}">
                <a16:creationId xmlns:a16="http://schemas.microsoft.com/office/drawing/2014/main" id="{F8B286B4-281C-4C75-B0EB-F24673B78C6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920168" y="1259813"/>
            <a:ext cx="578312" cy="2240632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3" name="Rectangle 6">
            <a:extLst>
              <a:ext uri="{FF2B5EF4-FFF2-40B4-BE49-F238E27FC236}">
                <a16:creationId xmlns:a16="http://schemas.microsoft.com/office/drawing/2014/main" id="{ADCF7C59-EB1C-4C93-9786-97C73AF0E8EC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28332" y="6413267"/>
            <a:ext cx="932495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 30</a:t>
            </a:r>
          </a:p>
        </p:txBody>
      </p:sp>
      <p:sp>
        <p:nvSpPr>
          <p:cNvPr id="154" name="Rectangle 6">
            <a:extLst>
              <a:ext uri="{FF2B5EF4-FFF2-40B4-BE49-F238E27FC236}">
                <a16:creationId xmlns:a16="http://schemas.microsoft.com/office/drawing/2014/main" id="{DA60424C-FCAB-4164-A852-6EDF316C6E05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09324" y="6402814"/>
            <a:ext cx="360276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 0</a:t>
            </a:r>
          </a:p>
        </p:txBody>
      </p:sp>
      <p:sp>
        <p:nvSpPr>
          <p:cNvPr id="155" name="Rectangle 5">
            <a:extLst>
              <a:ext uri="{FF2B5EF4-FFF2-40B4-BE49-F238E27FC236}">
                <a16:creationId xmlns:a16="http://schemas.microsoft.com/office/drawing/2014/main" id="{265F8721-D229-4554-8B3A-6272C18D42CE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62661" y="3969928"/>
            <a:ext cx="453231" cy="16347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0%</a:t>
            </a:r>
          </a:p>
        </p:txBody>
      </p:sp>
      <p:sp>
        <p:nvSpPr>
          <p:cNvPr id="172" name="26 Elipse">
            <a:extLst>
              <a:ext uri="{FF2B5EF4-FFF2-40B4-BE49-F238E27FC236}">
                <a16:creationId xmlns:a16="http://schemas.microsoft.com/office/drawing/2014/main" id="{3D66E203-3E25-4823-85D6-06C05639CC88}"/>
              </a:ext>
            </a:extLst>
          </p:cNvPr>
          <p:cNvSpPr/>
          <p:nvPr/>
        </p:nvSpPr>
        <p:spPr>
          <a:xfrm>
            <a:off x="9698593" y="1531176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173" name="26 Elipse">
            <a:extLst>
              <a:ext uri="{FF2B5EF4-FFF2-40B4-BE49-F238E27FC236}">
                <a16:creationId xmlns:a16="http://schemas.microsoft.com/office/drawing/2014/main" id="{F0E189F3-52BA-451D-B50C-9731C3484A4C}"/>
              </a:ext>
            </a:extLst>
          </p:cNvPr>
          <p:cNvSpPr/>
          <p:nvPr/>
        </p:nvSpPr>
        <p:spPr>
          <a:xfrm>
            <a:off x="9698593" y="2320815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174" name="6 Rectángulo">
            <a:extLst>
              <a:ext uri="{FF2B5EF4-FFF2-40B4-BE49-F238E27FC236}">
                <a16:creationId xmlns:a16="http://schemas.microsoft.com/office/drawing/2014/main" id="{29DD13F9-E5A2-40EB-A266-446F66FE9838}"/>
              </a:ext>
            </a:extLst>
          </p:cNvPr>
          <p:cNvSpPr/>
          <p:nvPr/>
        </p:nvSpPr>
        <p:spPr>
          <a:xfrm>
            <a:off x="704609" y="271668"/>
            <a:ext cx="97421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a: </a:t>
            </a:r>
            <a:r>
              <a:rPr lang="es-CO" sz="14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MPLIMIENTO A LA SENTENCIA FALLO  T-762 DE 2015 </a:t>
            </a:r>
            <a:r>
              <a:rPr lang="es-CO" sz="16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  <a:endParaRPr lang="es-CO" sz="1600" b="1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56" name="Group 120">
            <a:extLst>
              <a:ext uri="{FF2B5EF4-FFF2-40B4-BE49-F238E27FC236}">
                <a16:creationId xmlns:a16="http://schemas.microsoft.com/office/drawing/2014/main" id="{9C592117-EE17-45C4-AE57-C84E87EE1599}"/>
              </a:ext>
            </a:extLst>
          </p:cNvPr>
          <p:cNvGrpSpPr>
            <a:grpSpLocks/>
          </p:cNvGrpSpPr>
          <p:nvPr/>
        </p:nvGrpSpPr>
        <p:grpSpPr bwMode="auto">
          <a:xfrm>
            <a:off x="10752477" y="53649"/>
            <a:ext cx="771723" cy="1125172"/>
            <a:chOff x="4005" y="1309"/>
            <a:chExt cx="313" cy="350"/>
          </a:xfrm>
        </p:grpSpPr>
        <p:pic>
          <p:nvPicPr>
            <p:cNvPr id="157" name="Picture 121" descr="j0432549">
              <a:extLst>
                <a:ext uri="{FF2B5EF4-FFF2-40B4-BE49-F238E27FC236}">
                  <a16:creationId xmlns:a16="http://schemas.microsoft.com/office/drawing/2014/main" id="{B37E7C44-36A9-4FE1-B6DA-BCE6E96AB13C}"/>
                </a:ext>
              </a:extLst>
            </p:cNvPr>
            <p:cNvPicPr>
              <a:picLocks noChangeArrowheads="1"/>
            </p:cNvPicPr>
            <p:nvPr>
              <p:custDataLst>
                <p:tags r:id="rId3"/>
              </p:custDataLst>
            </p:nvPr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5" y="1309"/>
              <a:ext cx="313" cy="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3" name="Oval 125">
              <a:extLst>
                <a:ext uri="{FF2B5EF4-FFF2-40B4-BE49-F238E27FC236}">
                  <a16:creationId xmlns:a16="http://schemas.microsoft.com/office/drawing/2014/main" id="{E1E01941-8431-4E62-83F6-18662D652264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rot="10800000">
              <a:off x="4052" y="1554"/>
              <a:ext cx="38" cy="22"/>
            </a:xfrm>
            <a:prstGeom prst="ellipse">
              <a:avLst/>
            </a:prstGeom>
            <a:solidFill>
              <a:schemeClr val="bg2">
                <a:alpha val="30196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MX" sz="1051" dirty="0">
                <a:solidFill>
                  <a:prstClr val="black"/>
                </a:solidFill>
              </a:endParaRPr>
            </a:p>
          </p:txBody>
        </p:sp>
        <p:grpSp>
          <p:nvGrpSpPr>
            <p:cNvPr id="159" name="Group 130">
              <a:extLst>
                <a:ext uri="{FF2B5EF4-FFF2-40B4-BE49-F238E27FC236}">
                  <a16:creationId xmlns:a16="http://schemas.microsoft.com/office/drawing/2014/main" id="{30FD2D0D-23AE-4E53-B845-B632598E9EB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69" y="1364"/>
              <a:ext cx="125" cy="74"/>
              <a:chOff x="3123" y="2452"/>
              <a:chExt cx="279" cy="150"/>
            </a:xfrm>
          </p:grpSpPr>
          <p:sp>
            <p:nvSpPr>
              <p:cNvPr id="160" name="Oval 131">
                <a:extLst>
                  <a:ext uri="{FF2B5EF4-FFF2-40B4-BE49-F238E27FC236}">
                    <a16:creationId xmlns:a16="http://schemas.microsoft.com/office/drawing/2014/main" id="{EEBF8C1E-62E3-418B-B7F2-F82CA165ACD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246" y="2452"/>
                <a:ext cx="156" cy="15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MX" sz="105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1" name="Oval 133">
                <a:extLst>
                  <a:ext uri="{FF2B5EF4-FFF2-40B4-BE49-F238E27FC236}">
                    <a16:creationId xmlns:a16="http://schemas.microsoft.com/office/drawing/2014/main" id="{E9884756-CDDE-4951-BE52-050AF8DF47B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 rot="10800000">
                <a:off x="3123" y="2456"/>
                <a:ext cx="90" cy="45"/>
              </a:xfrm>
              <a:prstGeom prst="ellipse">
                <a:avLst/>
              </a:prstGeom>
              <a:solidFill>
                <a:schemeClr val="bg2">
                  <a:alpha val="30196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MX" sz="1051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75" name="Oval 131">
            <a:extLst>
              <a:ext uri="{FF2B5EF4-FFF2-40B4-BE49-F238E27FC236}">
                <a16:creationId xmlns:a16="http://schemas.microsoft.com/office/drawing/2014/main" id="{1FBBEACF-6588-4A57-956A-CB823A118F6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052177" y="539285"/>
            <a:ext cx="172325" cy="237894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MX" sz="1051" dirty="0">
              <a:solidFill>
                <a:prstClr val="black"/>
              </a:solidFill>
            </a:endParaRPr>
          </a:p>
        </p:txBody>
      </p:sp>
      <p:sp>
        <p:nvSpPr>
          <p:cNvPr id="176" name="Rectangle 183">
            <a:extLst>
              <a:ext uri="{FF2B5EF4-FFF2-40B4-BE49-F238E27FC236}">
                <a16:creationId xmlns:a16="http://schemas.microsoft.com/office/drawing/2014/main" id="{E2A35FE6-72FB-41AB-8D84-E807935B38BE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563688" y="948315"/>
            <a:ext cx="498009" cy="24552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tus</a:t>
            </a:r>
          </a:p>
        </p:txBody>
      </p:sp>
      <p:sp>
        <p:nvSpPr>
          <p:cNvPr id="177" name="Rectangle 186">
            <a:extLst>
              <a:ext uri="{FF2B5EF4-FFF2-40B4-BE49-F238E27FC236}">
                <a16:creationId xmlns:a16="http://schemas.microsoft.com/office/drawing/2014/main" id="{5FFC823A-1934-4190-9DC8-41EC8DF2C18F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235013" y="948315"/>
            <a:ext cx="647027" cy="26430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on.</a:t>
            </a:r>
          </a:p>
        </p:txBody>
      </p:sp>
      <p:sp>
        <p:nvSpPr>
          <p:cNvPr id="178" name="Rectangle 186">
            <a:extLst>
              <a:ext uri="{FF2B5EF4-FFF2-40B4-BE49-F238E27FC236}">
                <a16:creationId xmlns:a16="http://schemas.microsoft.com/office/drawing/2014/main" id="{9B8C0950-4230-48A9-A9D6-F9903CC694A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920168" y="948315"/>
            <a:ext cx="578312" cy="26430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fase</a:t>
            </a:r>
          </a:p>
        </p:txBody>
      </p:sp>
    </p:spTree>
    <p:extLst>
      <p:ext uri="{BB962C8B-B14F-4D97-AF65-F5344CB8AC3E}">
        <p14:creationId xmlns:p14="http://schemas.microsoft.com/office/powerpoint/2010/main" val="102362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SmdU7hW0yJ1y01NNni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mB_Lj_bE6SuG_W7A.N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5AE79D6F62744A90ED38F7A4107209" ma:contentTypeVersion="8" ma:contentTypeDescription="Create a new document." ma:contentTypeScope="" ma:versionID="c0583f2f575c464155c1962f22a9c21d">
  <xsd:schema xmlns:xsd="http://www.w3.org/2001/XMLSchema" xmlns:xs="http://www.w3.org/2001/XMLSchema" xmlns:p="http://schemas.microsoft.com/office/2006/metadata/properties" xmlns:ns3="0381c238-0115-4676-9eac-af3b642ab3a9" targetNamespace="http://schemas.microsoft.com/office/2006/metadata/properties" ma:root="true" ma:fieldsID="b3cfb08cb5f9b9908e5dd0ed550ec1a0" ns3:_="">
    <xsd:import namespace="0381c238-0115-4676-9eac-af3b642ab3a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81c238-0115-4676-9eac-af3b642ab3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307AD7B-8C70-4A8D-8508-A4A33D9C3AC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F892A36-F7E2-458C-BF50-9C0D0DBB86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81c238-0115-4676-9eac-af3b642ab3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26CAC43-FD0A-4CFB-A12C-A955837C744A}">
  <ds:schemaRefs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0381c238-0115-4676-9eac-af3b642ab3a9"/>
    <ds:schemaRef ds:uri="http://schemas.microsoft.com/office/2006/metadata/properties"/>
    <ds:schemaRef ds:uri="http://purl.org/dc/elements/1.1/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62</TotalTime>
  <Words>559</Words>
  <Application>Microsoft Office PowerPoint</Application>
  <PresentationFormat>Panorámica</PresentationFormat>
  <Paragraphs>90</Paragraphs>
  <Slides>3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3</vt:i4>
      </vt:variant>
    </vt:vector>
  </HeadingPairs>
  <TitlesOfParts>
    <vt:vector size="9" baseType="lpstr">
      <vt:lpstr>Arial</vt:lpstr>
      <vt:lpstr>Calibri</vt:lpstr>
      <vt:lpstr>Calibri Light</vt:lpstr>
      <vt:lpstr>Verdana</vt:lpstr>
      <vt:lpstr>Wingdings</vt:lpstr>
      <vt:lpstr>Tema de Office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iana Milena Castaneda Moreno</dc:creator>
  <cp:lastModifiedBy>HP</cp:lastModifiedBy>
  <cp:revision>74</cp:revision>
  <cp:lastPrinted>2019-10-29T22:15:30Z</cp:lastPrinted>
  <dcterms:created xsi:type="dcterms:W3CDTF">2019-06-28T15:32:40Z</dcterms:created>
  <dcterms:modified xsi:type="dcterms:W3CDTF">2020-04-14T00:5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5AE79D6F62744A90ED38F7A4107209</vt:lpwstr>
  </property>
</Properties>
</file>